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handoutMasterIdLst>
    <p:handoutMasterId r:id="rId21"/>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1633"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4A7A62-30D9-42A1-8F61-7FA74EDD7B19}" v="25" dt="2024-09-01T19:00:00.1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3" d="100"/>
          <a:sy n="63" d="100"/>
        </p:scale>
        <p:origin x="804" y="5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garwal, Rashi SBOBNG-PTIV/LI" userId="fd7d9d23-41e3-4365-a353-79d16ae7ab6e" providerId="ADAL" clId="{EE4A7A62-30D9-42A1-8F61-7FA74EDD7B19}"/>
    <pc:docChg chg="custSel delSld modSld sldOrd">
      <pc:chgData name="Agarwal, Rashi SBOBNG-PTIV/LI" userId="fd7d9d23-41e3-4365-a353-79d16ae7ab6e" providerId="ADAL" clId="{EE4A7A62-30D9-42A1-8F61-7FA74EDD7B19}" dt="2024-09-01T19:26:18.870" v="1358" actId="47"/>
      <pc:docMkLst>
        <pc:docMk/>
      </pc:docMkLst>
      <pc:sldChg chg="ord">
        <pc:chgData name="Agarwal, Rashi SBOBNG-PTIV/LI" userId="fd7d9d23-41e3-4365-a353-79d16ae7ab6e" providerId="ADAL" clId="{EE4A7A62-30D9-42A1-8F61-7FA74EDD7B19}" dt="2024-09-01T14:47:08.120" v="1"/>
        <pc:sldMkLst>
          <pc:docMk/>
          <pc:sldMk cId="832949157" sldId="2147375602"/>
        </pc:sldMkLst>
      </pc:sldChg>
      <pc:sldChg chg="addSp modSp mod">
        <pc:chgData name="Agarwal, Rashi SBOBNG-PTIV/LI" userId="fd7d9d23-41e3-4365-a353-79d16ae7ab6e" providerId="ADAL" clId="{EE4A7A62-30D9-42A1-8F61-7FA74EDD7B19}" dt="2024-09-01T14:55:41.667" v="243" actId="1076"/>
        <pc:sldMkLst>
          <pc:docMk/>
          <pc:sldMk cId="3179805674" sldId="2147375604"/>
        </pc:sldMkLst>
        <pc:spChg chg="mod">
          <ac:chgData name="Agarwal, Rashi SBOBNG-PTIV/LI" userId="fd7d9d23-41e3-4365-a353-79d16ae7ab6e" providerId="ADAL" clId="{EE4A7A62-30D9-42A1-8F61-7FA74EDD7B19}" dt="2024-09-01T14:52:42.884" v="235" actId="20577"/>
          <ac:spMkLst>
            <pc:docMk/>
            <pc:sldMk cId="3179805674" sldId="2147375604"/>
            <ac:spMk id="11" creationId="{DE9F1BE0-7910-FA1B-DCE8-56EFD1E4FC09}"/>
          </ac:spMkLst>
        </pc:spChg>
        <pc:picChg chg="add mod">
          <ac:chgData name="Agarwal, Rashi SBOBNG-PTIV/LI" userId="fd7d9d23-41e3-4365-a353-79d16ae7ab6e" providerId="ADAL" clId="{EE4A7A62-30D9-42A1-8F61-7FA74EDD7B19}" dt="2024-09-01T14:55:41.667" v="243" actId="1076"/>
          <ac:picMkLst>
            <pc:docMk/>
            <pc:sldMk cId="3179805674" sldId="2147375604"/>
            <ac:picMk id="6" creationId="{E77D5A27-A2AF-8865-33AE-551BAE936CCA}"/>
          </ac:picMkLst>
        </pc:picChg>
      </pc:sldChg>
      <pc:sldChg chg="addSp delSp modSp mod">
        <pc:chgData name="Agarwal, Rashi SBOBNG-PTIV/LI" userId="fd7d9d23-41e3-4365-a353-79d16ae7ab6e" providerId="ADAL" clId="{EE4A7A62-30D9-42A1-8F61-7FA74EDD7B19}" dt="2024-09-01T19:00:00.154" v="504" actId="14100"/>
        <pc:sldMkLst>
          <pc:docMk/>
          <pc:sldMk cId="86366928" sldId="2147375605"/>
        </pc:sldMkLst>
        <pc:spChg chg="mod">
          <ac:chgData name="Agarwal, Rashi SBOBNG-PTIV/LI" userId="fd7d9d23-41e3-4365-a353-79d16ae7ab6e" providerId="ADAL" clId="{EE4A7A62-30D9-42A1-8F61-7FA74EDD7B19}" dt="2024-09-01T15:08:51.676" v="480" actId="20577"/>
          <ac:spMkLst>
            <pc:docMk/>
            <pc:sldMk cId="86366928" sldId="2147375605"/>
            <ac:spMk id="11" creationId="{DE9F1BE0-7910-FA1B-DCE8-56EFD1E4FC09}"/>
          </ac:spMkLst>
        </pc:spChg>
        <pc:spChg chg="del mod">
          <ac:chgData name="Agarwal, Rashi SBOBNG-PTIV/LI" userId="fd7d9d23-41e3-4365-a353-79d16ae7ab6e" providerId="ADAL" clId="{EE4A7A62-30D9-42A1-8F61-7FA74EDD7B19}" dt="2024-09-01T18:59:35.254" v="495" actId="478"/>
          <ac:spMkLst>
            <pc:docMk/>
            <pc:sldMk cId="86366928" sldId="2147375605"/>
            <ac:spMk id="12" creationId="{E53E5C3F-4D2B-B85F-E592-E58E032C664C}"/>
          </ac:spMkLst>
        </pc:spChg>
        <pc:picChg chg="add mod">
          <ac:chgData name="Agarwal, Rashi SBOBNG-PTIV/LI" userId="fd7d9d23-41e3-4365-a353-79d16ae7ab6e" providerId="ADAL" clId="{EE4A7A62-30D9-42A1-8F61-7FA74EDD7B19}" dt="2024-09-01T18:59:31.991" v="494" actId="14100"/>
          <ac:picMkLst>
            <pc:docMk/>
            <pc:sldMk cId="86366928" sldId="2147375605"/>
            <ac:picMk id="1026" creationId="{E31CF771-8987-0D28-6422-D338D2BF1CD6}"/>
          </ac:picMkLst>
        </pc:picChg>
        <pc:picChg chg="add mod">
          <ac:chgData name="Agarwal, Rashi SBOBNG-PTIV/LI" userId="fd7d9d23-41e3-4365-a353-79d16ae7ab6e" providerId="ADAL" clId="{EE4A7A62-30D9-42A1-8F61-7FA74EDD7B19}" dt="2024-09-01T19:00:00.154" v="504" actId="14100"/>
          <ac:picMkLst>
            <pc:docMk/>
            <pc:sldMk cId="86366928" sldId="2147375605"/>
            <ac:picMk id="1028" creationId="{5E5E5B3F-F3F1-5794-F0BC-C0AE276D3D32}"/>
          </ac:picMkLst>
        </pc:picChg>
      </pc:sldChg>
      <pc:sldChg chg="delSp modSp mod ord">
        <pc:chgData name="Agarwal, Rashi SBOBNG-PTIV/LI" userId="fd7d9d23-41e3-4365-a353-79d16ae7ab6e" providerId="ADAL" clId="{EE4A7A62-30D9-42A1-8F61-7FA74EDD7B19}" dt="2024-09-01T19:13:59.883" v="703" actId="123"/>
        <pc:sldMkLst>
          <pc:docMk/>
          <pc:sldMk cId="2340944189" sldId="2147375607"/>
        </pc:sldMkLst>
        <pc:spChg chg="mod">
          <ac:chgData name="Agarwal, Rashi SBOBNG-PTIV/LI" userId="fd7d9d23-41e3-4365-a353-79d16ae7ab6e" providerId="ADAL" clId="{EE4A7A62-30D9-42A1-8F61-7FA74EDD7B19}" dt="2024-09-01T19:13:59.883" v="703" actId="123"/>
          <ac:spMkLst>
            <pc:docMk/>
            <pc:sldMk cId="2340944189" sldId="2147375607"/>
            <ac:spMk id="11" creationId="{DE9F1BE0-7910-FA1B-DCE8-56EFD1E4FC09}"/>
          </ac:spMkLst>
        </pc:spChg>
        <pc:spChg chg="del">
          <ac:chgData name="Agarwal, Rashi SBOBNG-PTIV/LI" userId="fd7d9d23-41e3-4365-a353-79d16ae7ab6e" providerId="ADAL" clId="{EE4A7A62-30D9-42A1-8F61-7FA74EDD7B19}" dt="2024-09-01T19:06:01.849" v="507" actId="478"/>
          <ac:spMkLst>
            <pc:docMk/>
            <pc:sldMk cId="2340944189" sldId="2147375607"/>
            <ac:spMk id="12" creationId="{E53E5C3F-4D2B-B85F-E592-E58E032C664C}"/>
          </ac:spMkLst>
        </pc:spChg>
      </pc:sldChg>
      <pc:sldChg chg="delSp modSp mod">
        <pc:chgData name="Agarwal, Rashi SBOBNG-PTIV/LI" userId="fd7d9d23-41e3-4365-a353-79d16ae7ab6e" providerId="ADAL" clId="{EE4A7A62-30D9-42A1-8F61-7FA74EDD7B19}" dt="2024-09-01T19:20:35.816" v="1069" actId="123"/>
        <pc:sldMkLst>
          <pc:docMk/>
          <pc:sldMk cId="3159148252" sldId="2147375608"/>
        </pc:sldMkLst>
        <pc:spChg chg="mod">
          <ac:chgData name="Agarwal, Rashi SBOBNG-PTIV/LI" userId="fd7d9d23-41e3-4365-a353-79d16ae7ab6e" providerId="ADAL" clId="{EE4A7A62-30D9-42A1-8F61-7FA74EDD7B19}" dt="2024-09-01T19:20:35.816" v="1069" actId="123"/>
          <ac:spMkLst>
            <pc:docMk/>
            <pc:sldMk cId="3159148252" sldId="2147375608"/>
            <ac:spMk id="11" creationId="{DE9F1BE0-7910-FA1B-DCE8-56EFD1E4FC09}"/>
          </ac:spMkLst>
        </pc:spChg>
        <pc:spChg chg="del mod">
          <ac:chgData name="Agarwal, Rashi SBOBNG-PTIV/LI" userId="fd7d9d23-41e3-4365-a353-79d16ae7ab6e" providerId="ADAL" clId="{EE4A7A62-30D9-42A1-8F61-7FA74EDD7B19}" dt="2024-09-01T19:14:44.854" v="705" actId="478"/>
          <ac:spMkLst>
            <pc:docMk/>
            <pc:sldMk cId="3159148252" sldId="2147375608"/>
            <ac:spMk id="12" creationId="{E53E5C3F-4D2B-B85F-E592-E58E032C664C}"/>
          </ac:spMkLst>
        </pc:spChg>
      </pc:sldChg>
      <pc:sldChg chg="delSp modSp mod">
        <pc:chgData name="Agarwal, Rashi SBOBNG-PTIV/LI" userId="fd7d9d23-41e3-4365-a353-79d16ae7ab6e" providerId="ADAL" clId="{EE4A7A62-30D9-42A1-8F61-7FA74EDD7B19}" dt="2024-09-01T19:25:54.297" v="1353" actId="1076"/>
        <pc:sldMkLst>
          <pc:docMk/>
          <pc:sldMk cId="3070204084" sldId="2147375609"/>
        </pc:sldMkLst>
        <pc:spChg chg="mod">
          <ac:chgData name="Agarwal, Rashi SBOBNG-PTIV/LI" userId="fd7d9d23-41e3-4365-a353-79d16ae7ab6e" providerId="ADAL" clId="{EE4A7A62-30D9-42A1-8F61-7FA74EDD7B19}" dt="2024-09-01T19:25:54.297" v="1353" actId="1076"/>
          <ac:spMkLst>
            <pc:docMk/>
            <pc:sldMk cId="3070204084" sldId="2147375609"/>
            <ac:spMk id="11" creationId="{DE9F1BE0-7910-FA1B-DCE8-56EFD1E4FC09}"/>
          </ac:spMkLst>
        </pc:spChg>
        <pc:spChg chg="del">
          <ac:chgData name="Agarwal, Rashi SBOBNG-PTIV/LI" userId="fd7d9d23-41e3-4365-a353-79d16ae7ab6e" providerId="ADAL" clId="{EE4A7A62-30D9-42A1-8F61-7FA74EDD7B19}" dt="2024-09-01T19:25:52.105" v="1352" actId="478"/>
          <ac:spMkLst>
            <pc:docMk/>
            <pc:sldMk cId="3070204084" sldId="2147375609"/>
            <ac:spMk id="12" creationId="{E53E5C3F-4D2B-B85F-E592-E58E032C664C}"/>
          </ac:spMkLst>
        </pc:spChg>
      </pc:sldChg>
      <pc:sldChg chg="del">
        <pc:chgData name="Agarwal, Rashi SBOBNG-PTIV/LI" userId="fd7d9d23-41e3-4365-a353-79d16ae7ab6e" providerId="ADAL" clId="{EE4A7A62-30D9-42A1-8F61-7FA74EDD7B19}" dt="2024-09-01T19:26:18.870" v="1358" actId="47"/>
        <pc:sldMkLst>
          <pc:docMk/>
          <pc:sldMk cId="12943417" sldId="2147375610"/>
        </pc:sldMkLst>
      </pc:sldChg>
      <pc:sldChg chg="del">
        <pc:chgData name="Agarwal, Rashi SBOBNG-PTIV/LI" userId="fd7d9d23-41e3-4365-a353-79d16ae7ab6e" providerId="ADAL" clId="{EE4A7A62-30D9-42A1-8F61-7FA74EDD7B19}" dt="2024-09-01T19:26:17.021" v="1357" actId="47"/>
        <pc:sldMkLst>
          <pc:docMk/>
          <pc:sldMk cId="3754613224" sldId="2147375611"/>
        </pc:sldMkLst>
      </pc:sldChg>
      <pc:sldChg chg="del">
        <pc:chgData name="Agarwal, Rashi SBOBNG-PTIV/LI" userId="fd7d9d23-41e3-4365-a353-79d16ae7ab6e" providerId="ADAL" clId="{EE4A7A62-30D9-42A1-8F61-7FA74EDD7B19}" dt="2024-09-01T19:26:08.915" v="1354" actId="47"/>
        <pc:sldMkLst>
          <pc:docMk/>
          <pc:sldMk cId="660662221" sldId="2147375612"/>
        </pc:sldMkLst>
      </pc:sldChg>
      <pc:sldChg chg="del">
        <pc:chgData name="Agarwal, Rashi SBOBNG-PTIV/LI" userId="fd7d9d23-41e3-4365-a353-79d16ae7ab6e" providerId="ADAL" clId="{EE4A7A62-30D9-42A1-8F61-7FA74EDD7B19}" dt="2024-09-01T19:26:15.387" v="1356" actId="47"/>
        <pc:sldMkLst>
          <pc:docMk/>
          <pc:sldMk cId="1148838763" sldId="2147375613"/>
        </pc:sldMkLst>
      </pc:sldChg>
      <pc:sldChg chg="del">
        <pc:chgData name="Agarwal, Rashi SBOBNG-PTIV/LI" userId="fd7d9d23-41e3-4365-a353-79d16ae7ab6e" providerId="ADAL" clId="{EE4A7A62-30D9-42A1-8F61-7FA74EDD7B19}" dt="2024-09-01T19:26:13.412" v="1355" actId="47"/>
        <pc:sldMkLst>
          <pc:docMk/>
          <pc:sldMk cId="3865850111" sldId="2147375614"/>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lt;Name&gt;</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endParaRPr lang="en-US" sz="2000" dirty="0"/>
          </a:p>
          <a:p>
            <a:pPr marL="0" indent="0">
              <a:buNone/>
            </a:pPr>
            <a:endParaRPr lang="en-US" sz="2000" dirty="0"/>
          </a:p>
          <a:p>
            <a:pPr marL="0" indent="0">
              <a:buNone/>
            </a:pPr>
            <a:r>
              <a:rPr lang="en-US" sz="2000" dirty="0"/>
              <a:t>Presentation skills will help me to effectively communicate complex information, engage stakeholders, lead teams, secure project approvals and promote innovation.</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028" name="Picture 4" descr="The ULTIMATE guide to presentation skills | BrightCarbon">
            <a:extLst>
              <a:ext uri="{FF2B5EF4-FFF2-40B4-BE49-F238E27FC236}">
                <a16:creationId xmlns:a16="http://schemas.microsoft.com/office/drawing/2014/main" id="{5E5E5B3F-F3F1-5794-F0BC-C0AE276D3D3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1079" y="1166518"/>
            <a:ext cx="4689881" cy="46043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124434" y="1751925"/>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While doing a role play on Stakeholder Management, one of the key challenge we faced was navigating conflicting interests while also trying to make progress.</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2778994" y="183051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In our role play on professionalism, one of the key challenges was upholding ethical standards and professional behavior in the face of difficult situations. Handling pressure while staying composed and making sound, ethical decisions can test professionalism.  </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124434" y="1751925"/>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When we did a presentation, main challenge was to effectively communicating complex information in a clear and engaging way. Ensuring that content is understandable to a diverse audience with varying levels of expertise can be difficult.</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000" dirty="0"/>
              <a:t>“Do the best you can until you know better. Then when you know better, do better.” </a:t>
            </a:r>
          </a:p>
          <a:p>
            <a:pPr marL="0" indent="0" algn="ctr">
              <a:buFont typeface="Arial" panose="020B0604020202020204" pitchFamily="34" charset="0"/>
              <a:buNone/>
            </a:pPr>
            <a:r>
              <a:rPr lang="en-GB" sz="2000" dirty="0"/>
              <a:t>- Maya Angelou</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t>Please share an image / visual that best represents you</a:t>
            </a:r>
            <a:endParaRPr lang="en-US" sz="2000" dirty="0"/>
          </a:p>
        </p:txBody>
      </p:sp>
      <p:pic>
        <p:nvPicPr>
          <p:cNvPr id="8" name="Picture 7" descr="A child with his hands on his head&#10;&#10;Description automatically generated">
            <a:extLst>
              <a:ext uri="{FF2B5EF4-FFF2-40B4-BE49-F238E27FC236}">
                <a16:creationId xmlns:a16="http://schemas.microsoft.com/office/drawing/2014/main" id="{95BB9A4B-29CD-3D02-992E-5D4BD813CF2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0800" y="1831738"/>
            <a:ext cx="5349005" cy="415290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 – Soft skills</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Stakeholder Management</a:t>
            </a:r>
          </a:p>
          <a:p>
            <a:r>
              <a:rPr lang="en-US" sz="2000" dirty="0"/>
              <a:t>It is important in actively identifying, engaging, and communicating with all stakeholders</a:t>
            </a:r>
          </a:p>
          <a:p>
            <a:r>
              <a:rPr lang="en-US" sz="2000" dirty="0"/>
              <a:t>It can help me balancing conflicting interests and in crisis management.</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F0654933-94A1-67DE-985B-338A13258391}"/>
              </a:ext>
            </a:extLst>
          </p:cNvPr>
          <p:cNvPicPr>
            <a:picLocks noChangeAspect="1"/>
          </p:cNvPicPr>
          <p:nvPr/>
        </p:nvPicPr>
        <p:blipFill>
          <a:blip r:embed="rId7"/>
          <a:stretch>
            <a:fillRect/>
          </a:stretch>
        </p:blipFill>
        <p:spPr>
          <a:xfrm>
            <a:off x="6400799" y="1765215"/>
            <a:ext cx="5491138" cy="4267796"/>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Professionalism</a:t>
            </a:r>
          </a:p>
          <a:p>
            <a:r>
              <a:rPr lang="en-GB" sz="2000" dirty="0"/>
              <a:t>A professional is a person who is engaged in a specified activity as one's main paid occupation rather than as an amateur.</a:t>
            </a:r>
          </a:p>
          <a:p>
            <a:r>
              <a:rPr lang="en-US" sz="2000" dirty="0"/>
              <a:t>It taught me how to conduct myself and act with integrity and stakeholder engage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CF4F7310-5CFC-6BDD-5517-26DB9569E5A0}"/>
              </a:ext>
            </a:extLst>
          </p:cNvPr>
          <p:cNvPicPr>
            <a:picLocks noChangeAspect="1"/>
          </p:cNvPicPr>
          <p:nvPr/>
        </p:nvPicPr>
        <p:blipFill>
          <a:blip r:embed="rId7"/>
          <a:stretch>
            <a:fillRect/>
          </a:stretch>
        </p:blipFill>
        <p:spPr>
          <a:xfrm>
            <a:off x="6186518" y="1779688"/>
            <a:ext cx="5653805" cy="4380480"/>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28313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Presentation Skills</a:t>
            </a:r>
          </a:p>
          <a:p>
            <a:r>
              <a:rPr lang="en-GB" sz="2000" dirty="0"/>
              <a:t>Presentation is a way of communicating ideas and information to a group. Presentations are an important part of corporate life. </a:t>
            </a:r>
          </a:p>
          <a:p>
            <a:r>
              <a:rPr lang="en-GB" sz="2000" dirty="0"/>
              <a:t>It can help me in:-</a:t>
            </a:r>
          </a:p>
          <a:p>
            <a:pPr marL="457200" lvl="1" indent="0">
              <a:buNone/>
            </a:pPr>
            <a:r>
              <a:rPr lang="en-GB" sz="2000" dirty="0"/>
              <a:t> AUDIENCE ANALYSIS</a:t>
            </a:r>
          </a:p>
          <a:p>
            <a:pPr marL="457200" lvl="1" indent="0">
              <a:buNone/>
            </a:pPr>
            <a:r>
              <a:rPr lang="en-GB" sz="2000" dirty="0"/>
              <a:t>CONTENT and DESIGN</a:t>
            </a:r>
          </a:p>
          <a:p>
            <a:pPr marL="457200" lvl="1" indent="0">
              <a:buNone/>
            </a:pPr>
            <a:r>
              <a:rPr lang="en-GB" sz="2000" dirty="0"/>
              <a:t>DELIVERY</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6C659F4A-634E-00DC-7AA9-84F59A65A7E2}"/>
              </a:ext>
            </a:extLst>
          </p:cNvPr>
          <p:cNvPicPr>
            <a:picLocks noChangeAspect="1"/>
          </p:cNvPicPr>
          <p:nvPr/>
        </p:nvPicPr>
        <p:blipFill>
          <a:blip r:embed="rId7"/>
          <a:stretch>
            <a:fillRect/>
          </a:stretch>
        </p:blipFill>
        <p:spPr>
          <a:xfrm>
            <a:off x="6400799" y="1860993"/>
            <a:ext cx="5349007" cy="4076241"/>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endParaRPr lang="en-US" sz="2000" dirty="0"/>
          </a:p>
          <a:p>
            <a:pPr marL="0" indent="0">
              <a:buNone/>
            </a:pPr>
            <a:r>
              <a:rPr lang="en-US" sz="2000" dirty="0"/>
              <a:t>Effective stakeholder Management is how Shell ensures that the interests, needs, and concerns of stakeholders are understood and addressed, fostering collaboration, reducing risks, and increasing the likelihood of project success.</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9913752F-09E5-5596-5FF2-38B734AE769B}"/>
              </a:ext>
            </a:extLst>
          </p:cNvPr>
          <p:cNvPicPr>
            <a:picLocks noChangeAspect="1"/>
          </p:cNvPicPr>
          <p:nvPr/>
        </p:nvPicPr>
        <p:blipFill>
          <a:blip r:embed="rId7"/>
          <a:stretch>
            <a:fillRect/>
          </a:stretch>
        </p:blipFill>
        <p:spPr>
          <a:xfrm>
            <a:off x="6131592" y="1659343"/>
            <a:ext cx="5776813" cy="4635714"/>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endParaRPr lang="en-US" sz="2000" dirty="0"/>
          </a:p>
          <a:p>
            <a:pPr marL="0" indent="0">
              <a:buNone/>
            </a:pPr>
            <a:endParaRPr lang="en-US" sz="2000" dirty="0"/>
          </a:p>
          <a:p>
            <a:pPr marL="0" indent="0">
              <a:buNone/>
            </a:pPr>
            <a:r>
              <a:rPr lang="en-US" sz="2000" dirty="0"/>
              <a:t>In an industry, where the environmental and social impacts of operations are closely scrutinized, professionalism is essential to maintaining trust, improving operational efficiency, and ensuring long-term succes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shaking hands&#10;&#10;Description automatically generated">
            <a:extLst>
              <a:ext uri="{FF2B5EF4-FFF2-40B4-BE49-F238E27FC236}">
                <a16:creationId xmlns:a16="http://schemas.microsoft.com/office/drawing/2014/main" id="{E77D5A27-A2AF-8865-33AE-551BAE936CC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2213" y="2079730"/>
            <a:ext cx="5321615" cy="3638765"/>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0025</TotalTime>
  <Words>577</Words>
  <Application>Microsoft Office PowerPoint</Application>
  <PresentationFormat>Widescreen</PresentationFormat>
  <Paragraphs>67</Paragraphs>
  <Slides>1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9"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garwal, Rashi SBOBNG-PTIV/LI</cp:lastModifiedBy>
  <cp:revision>500</cp:revision>
  <dcterms:created xsi:type="dcterms:W3CDTF">2022-01-18T12:35:56Z</dcterms:created>
  <dcterms:modified xsi:type="dcterms:W3CDTF">2024-09-01T19:2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